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3"/>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EC728284-8555-4E59-9FC2-1406343EC84A}">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notesMaster" Target="notesMasters/notesMaster1.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5/10/relationships/revisionInfo" Target="revisionInfo.xml"/><Relationship Id="rId59"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8534915836828727</c:v>
                </c:pt>
                <c:pt idx="6">
                  <c:v>0.0020579282678446667</c:v>
                </c:pt>
                <c:pt idx="7">
                  <c:v>0.008691429538801363</c:v>
                </c:pt>
                <c:pt idx="10">
                  <c:v>0.00561450148369166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309779432539336</c:v>
                </c:pt>
                <c:pt idx="4">
                  <c:v>0.006490863744179826</c:v>
                </c:pt>
                <c:pt idx="5">
                  <c:v>0.025547295908863697</c:v>
                </c:pt>
                <c:pt idx="6">
                  <c:v>0.007360366784580957</c:v>
                </c:pt>
                <c:pt idx="7">
                  <c:v>0.0700881508027568</c:v>
                </c:pt>
                <c:pt idx="8">
                  <c:v>0.01026784235922271</c:v>
                </c:pt>
                <c:pt idx="10">
                  <c:v>0.00760059271593370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006395884727534562</c:v>
                </c:pt>
                <c:pt idx="10">
                  <c:v>0.000743369103610259</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8989003417333752</c:v>
                </c:pt>
                <c:pt idx="2">
                  <c:v>0.0005895053500023858</c:v>
                </c:pt>
                <c:pt idx="3">
                  <c:v>0.01977252662968264</c:v>
                </c:pt>
                <c:pt idx="4">
                  <c:v>0.011363943025100654</c:v>
                </c:pt>
                <c:pt idx="5">
                  <c:v>0.012170874835746016</c:v>
                </c:pt>
                <c:pt idx="6">
                  <c:v>0.034525181260524195</c:v>
                </c:pt>
                <c:pt idx="7">
                  <c:v>0.05952409559290332</c:v>
                </c:pt>
                <c:pt idx="8">
                  <c:v>0.09585706892384101</c:v>
                </c:pt>
                <c:pt idx="9">
                  <c:v>0.06779450331846544</c:v>
                </c:pt>
                <c:pt idx="10">
                  <c:v>0.057050391327970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3305344230185403</c:v>
                </c:pt>
                <c:pt idx="1">
                  <c:v>0.007229392635980974</c:v>
                </c:pt>
                <c:pt idx="2">
                  <c:v>0.002870624166854882</c:v>
                </c:pt>
                <c:pt idx="3">
                  <c:v>0.028013649721785164</c:v>
                </c:pt>
                <c:pt idx="4">
                  <c:v>0.014082028412530045</c:v>
                </c:pt>
                <c:pt idx="5">
                  <c:v>0.0310530638820168</c:v>
                </c:pt>
                <c:pt idx="6">
                  <c:v>0.0797606065490247</c:v>
                </c:pt>
                <c:pt idx="7">
                  <c:v>0.03539029025389191</c:v>
                </c:pt>
                <c:pt idx="8">
                  <c:v>0.015801750260249266</c:v>
                </c:pt>
                <c:pt idx="10">
                  <c:v>0.00258036919332993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305844547647415</c:v>
                </c:pt>
                <c:pt idx="4">
                  <c:v>0.006390332454770294</c:v>
                </c:pt>
                <c:pt idx="5">
                  <c:v>0.013130733003298789</c:v>
                </c:pt>
                <c:pt idx="6">
                  <c:v>0.00830189163589587</c:v>
                </c:pt>
                <c:pt idx="7">
                  <c:v>0.030519919508629628</c:v>
                </c:pt>
                <c:pt idx="8">
                  <c:v>0.05370866222512487</c:v>
                </c:pt>
                <c:pt idx="9">
                  <c:v>0.01299211095950322</c:v>
                </c:pt>
                <c:pt idx="10">
                  <c:v>0.01579210138363538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287810242930141</c:v>
                </c:pt>
                <c:pt idx="1">
                  <c:v>0.020023523609660875</c:v>
                </c:pt>
                <c:pt idx="2">
                  <c:v>0.013723429107454667</c:v>
                </c:pt>
                <c:pt idx="3">
                  <c:v>0.07129344466409372</c:v>
                </c:pt>
                <c:pt idx="4">
                  <c:v>0.04793878273161689</c:v>
                </c:pt>
                <c:pt idx="5">
                  <c:v>0.16568816572178582</c:v>
                </c:pt>
                <c:pt idx="6">
                  <c:v>0.059864438195894244</c:v>
                </c:pt>
                <c:pt idx="7">
                  <c:v>0.16391615246101154</c:v>
                </c:pt>
                <c:pt idx="8">
                  <c:v>0.2609160386574467</c:v>
                </c:pt>
                <c:pt idx="9">
                  <c:v>0.10528163732341587</c:v>
                </c:pt>
                <c:pt idx="10">
                  <c:v>0.086862495206883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09209156440494895</c:v>
                </c:pt>
                <c:pt idx="7">
                  <c:v>0.00682191800774935</c:v>
                </c:pt>
                <c:pt idx="8">
                  <c:v>0.017507708600645374</c:v>
                </c:pt>
                <c:pt idx="9">
                  <c:v>0.00272424606670597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305844547647415</c:v>
                </c:pt>
                <c:pt idx="4">
                  <c:v>0.006390332454770294</c:v>
                </c:pt>
                <c:pt idx="5">
                  <c:v>0.013130733003298789</c:v>
                </c:pt>
                <c:pt idx="6">
                  <c:v>0.00830189163589587</c:v>
                </c:pt>
                <c:pt idx="7">
                  <c:v>0.030519919508629628</c:v>
                </c:pt>
                <c:pt idx="8">
                  <c:v>0.05370866222512487</c:v>
                </c:pt>
                <c:pt idx="9">
                  <c:v>0.01299211095950322</c:v>
                </c:pt>
                <c:pt idx="10">
                  <c:v>0.01579210138363538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305844547647415</c:v>
                </c:pt>
                <c:pt idx="4">
                  <c:v>0.006390332454770294</c:v>
                </c:pt>
                <c:pt idx="5">
                  <c:v>0.013130733003298789</c:v>
                </c:pt>
                <c:pt idx="6">
                  <c:v>0.00830189163589587</c:v>
                </c:pt>
                <c:pt idx="7">
                  <c:v>0.030519919508629628</c:v>
                </c:pt>
                <c:pt idx="8">
                  <c:v>0.05370866222512487</c:v>
                </c:pt>
                <c:pt idx="9">
                  <c:v>0.01299211095950322</c:v>
                </c:pt>
                <c:pt idx="10">
                  <c:v>0.0157921013836353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305844547647415</c:v>
                </c:pt>
                <c:pt idx="4">
                  <c:v>0.006390332454770294</c:v>
                </c:pt>
                <c:pt idx="5">
                  <c:v>0.013130733003298789</c:v>
                </c:pt>
                <c:pt idx="6">
                  <c:v>0.00830189163589587</c:v>
                </c:pt>
                <c:pt idx="7">
                  <c:v>0.030519919508629628</c:v>
                </c:pt>
                <c:pt idx="8">
                  <c:v>0.05370866222512487</c:v>
                </c:pt>
                <c:pt idx="9">
                  <c:v>0.01299211095950322</c:v>
                </c:pt>
                <c:pt idx="10">
                  <c:v>0.01579210138363538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346241200463286</c:v>
                </c:pt>
                <c:pt idx="6">
                  <c:v>0.06130635469218953</c:v>
                </c:pt>
                <c:pt idx="7">
                  <c:v>0.025558696901447086</c:v>
                </c:pt>
                <c:pt idx="9">
                  <c:v>0.004820224078680782</c:v>
                </c:pt>
                <c:pt idx="10">
                  <c:v>0.47369060428135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346241200463286</c:v>
                </c:pt>
                <c:pt idx="6">
                  <c:v>0.06130635469218953</c:v>
                </c:pt>
                <c:pt idx="7">
                  <c:v>0.025558696901447086</c:v>
                </c:pt>
                <c:pt idx="9">
                  <c:v>0.004820224078680782</c:v>
                </c:pt>
                <c:pt idx="10">
                  <c:v>0.47369060428135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157831972021869</c:v>
                </c:pt>
                <c:pt idx="6">
                  <c:v>0.0701017421469276</c:v>
                </c:pt>
                <c:pt idx="8">
                  <c:v>0.02196772172098512</c:v>
                </c:pt>
                <c:pt idx="9">
                  <c:v>0.4345337600404589</c:v>
                </c:pt>
                <c:pt idx="10">
                  <c:v>0.052986577548062776</c:v>
                </c:pt>
                <c:pt idx="11">
                  <c:v>0.0005478749548586796</c:v>
                </c:pt>
                <c:pt idx="12">
                  <c:v>0.00344724844799231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143644917460734</c:v>
                </c:pt>
                <c:pt idx="1">
                  <c:v>0.029401906875188205</c:v>
                </c:pt>
                <c:pt idx="4">
                  <c:v>0.12607359527604595</c:v>
                </c:pt>
                <c:pt idx="5">
                  <c:v>0.002457809121343675</c:v>
                </c:pt>
                <c:pt idx="6">
                  <c:v>0.25213010765919697</c:v>
                </c:pt>
                <c:pt idx="7">
                  <c:v>0.008552129724142214</c:v>
                </c:pt>
                <c:pt idx="8">
                  <c:v>0.39132364067278447</c:v>
                </c:pt>
                <c:pt idx="9">
                  <c:v>0.1757517287919234</c:v>
                </c:pt>
                <c:pt idx="10">
                  <c:v>0.002583863736266491</c:v>
                </c:pt>
                <c:pt idx="11">
                  <c:v>0.0042531055920174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9601321791568938</c:v>
                </c:pt>
                <c:pt idx="3">
                  <c:v>0.019999599923363302</c:v>
                </c:pt>
                <c:pt idx="5">
                  <c:v>0.02407417749737505</c:v>
                </c:pt>
                <c:pt idx="7">
                  <c:v>0.0012922107373036947</c:v>
                </c:pt>
                <c:pt idx="8">
                  <c:v>0.036258471793841</c:v>
                </c:pt>
                <c:pt idx="10">
                  <c:v>0.0205296698426491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6663748449336478</c:v>
                </c:pt>
                <c:pt idx="6">
                  <c:v>0.004554180798266048</c:v>
                </c:pt>
                <c:pt idx="7">
                  <c:v>0.010221124335061619</c:v>
                </c:pt>
                <c:pt idx="10">
                  <c:v>0.004854658017015147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3008003619940328</c:v>
                </c:pt>
                <c:pt idx="4">
                  <c:v>0.01074366191180548</c:v>
                </c:pt>
                <c:pt idx="6">
                  <c:v>0.043976334207715635</c:v>
                </c:pt>
                <c:pt idx="8">
                  <c:v>0.08262392705877278</c:v>
                </c:pt>
                <c:pt idx="10">
                  <c:v>0.00739712836857930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0996839411819725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2657044181484169</c:v>
                </c:pt>
                <c:pt idx="5">
                  <c:v>0.04200536740929833</c:v>
                </c:pt>
                <c:pt idx="7">
                  <c:v>0.004383507116071369</c:v>
                </c:pt>
                <c:pt idx="8">
                  <c:v>0.12039944138997732</c:v>
                </c:pt>
                <c:pt idx="9">
                  <c:v>0.002023169957149423</c:v>
                </c:pt>
                <c:pt idx="10">
                  <c:v>0.1266949215376864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6977237646079937</c:v>
                </c:pt>
                <c:pt idx="1">
                  <c:v>0.016101629907503006</c:v>
                </c:pt>
                <c:pt idx="4">
                  <c:v>0.0540167225709272</c:v>
                </c:pt>
                <c:pt idx="5">
                  <c:v>0.11074555419724867</c:v>
                </c:pt>
                <c:pt idx="6">
                  <c:v>0.00229974492555714</c:v>
                </c:pt>
                <c:pt idx="8">
                  <c:v>0.0449915617351456</c:v>
                </c:pt>
                <c:pt idx="10">
                  <c:v>0.00329884979001927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208356123221511</c:v>
                </c:pt>
                <c:pt idx="3">
                  <c:v>0.014731836042016418</c:v>
                </c:pt>
                <c:pt idx="5">
                  <c:v>0.0298699068419999</c:v>
                </c:pt>
                <c:pt idx="7">
                  <c:v>0.08028224825981181</c:v>
                </c:pt>
                <c:pt idx="8">
                  <c:v>0.0016705183290672196</c:v>
                </c:pt>
                <c:pt idx="10">
                  <c:v>0.015195282104024077</c:v>
                </c:pt>
                <c:pt idx="11">
                  <c:v>0.0042046801043159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143644917460734</c:v>
                </c:pt>
                <c:pt idx="1">
                  <c:v>0.029401906875188205</c:v>
                </c:pt>
                <c:pt idx="4">
                  <c:v>0.12607359527604595</c:v>
                </c:pt>
                <c:pt idx="5">
                  <c:v>0.002457809121343675</c:v>
                </c:pt>
                <c:pt idx="6">
                  <c:v>0.25213010765919697</c:v>
                </c:pt>
                <c:pt idx="7">
                  <c:v>0.008552129724142214</c:v>
                </c:pt>
                <c:pt idx="8">
                  <c:v>0.39132364067278447</c:v>
                </c:pt>
                <c:pt idx="9">
                  <c:v>0.1757517287919234</c:v>
                </c:pt>
                <c:pt idx="10">
                  <c:v>0.002583863736266491</c:v>
                </c:pt>
                <c:pt idx="11">
                  <c:v>0.0042531055920174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14587675055593718</c:v>
                </c:pt>
                <c:pt idx="8">
                  <c:v>0.026767990435235943</c:v>
                </c:pt>
                <c:pt idx="9">
                  <c:v>0.00263587714896510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208356123221511</c:v>
                </c:pt>
                <c:pt idx="3">
                  <c:v>0.014731836042016418</c:v>
                </c:pt>
                <c:pt idx="5">
                  <c:v>0.0298699068419999</c:v>
                </c:pt>
                <c:pt idx="7">
                  <c:v>0.08028224825981181</c:v>
                </c:pt>
                <c:pt idx="8">
                  <c:v>0.0016705183290672196</c:v>
                </c:pt>
                <c:pt idx="10">
                  <c:v>0.015195282104024077</c:v>
                </c:pt>
                <c:pt idx="11">
                  <c:v>0.0042046801043159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208356123221511</c:v>
                </c:pt>
                <c:pt idx="3">
                  <c:v>0.014731836042016418</c:v>
                </c:pt>
                <c:pt idx="5">
                  <c:v>0.0298699068419999</c:v>
                </c:pt>
                <c:pt idx="7">
                  <c:v>0.08028224825981181</c:v>
                </c:pt>
                <c:pt idx="8">
                  <c:v>0.0016705183290672196</c:v>
                </c:pt>
                <c:pt idx="10">
                  <c:v>0.015195282104024077</c:v>
                </c:pt>
                <c:pt idx="11">
                  <c:v>0.0042046801043159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208356123221511</c:v>
                </c:pt>
                <c:pt idx="3">
                  <c:v>0.014731836042016418</c:v>
                </c:pt>
                <c:pt idx="5">
                  <c:v>0.0298699068419999</c:v>
                </c:pt>
                <c:pt idx="7">
                  <c:v>0.08028224825981181</c:v>
                </c:pt>
                <c:pt idx="8">
                  <c:v>0.0016705183290672196</c:v>
                </c:pt>
                <c:pt idx="10">
                  <c:v>0.015195282104024077</c:v>
                </c:pt>
                <c:pt idx="11">
                  <c:v>0.0042046801043159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317326504995634</c:v>
                </c:pt>
                <c:pt idx="1">
                  <c:v>0.0491721026051903</c:v>
                </c:pt>
                <c:pt idx="3">
                  <c:v>0.015327587220883452</c:v>
                </c:pt>
                <c:pt idx="4">
                  <c:v>0.0036267341626128333</c:v>
                </c:pt>
                <c:pt idx="5">
                  <c:v>0.4355865584572655</c:v>
                </c:pt>
                <c:pt idx="7">
                  <c:v>0.4793645137897594</c:v>
                </c:pt>
                <c:pt idx="10">
                  <c:v>0.0151907711137889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317326504995634</c:v>
                </c:pt>
                <c:pt idx="1">
                  <c:v>0.0491721026051903</c:v>
                </c:pt>
                <c:pt idx="3">
                  <c:v>0.015327587220883452</c:v>
                </c:pt>
                <c:pt idx="4">
                  <c:v>0.0036267341626128333</c:v>
                </c:pt>
                <c:pt idx="5">
                  <c:v>0.4355865584572655</c:v>
                </c:pt>
                <c:pt idx="7">
                  <c:v>0.4793645137897594</c:v>
                </c:pt>
                <c:pt idx="10">
                  <c:v>0.0151907711137889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157831972021869</c:v>
                </c:pt>
                <c:pt idx="6">
                  <c:v>0.0701017421469276</c:v>
                </c:pt>
                <c:pt idx="8">
                  <c:v>0.02196772172098512</c:v>
                </c:pt>
                <c:pt idx="9">
                  <c:v>0.4345337600404589</c:v>
                </c:pt>
                <c:pt idx="10">
                  <c:v>0.052986577548062776</c:v>
                </c:pt>
                <c:pt idx="11">
                  <c:v>0.0005478749548586796</c:v>
                </c:pt>
                <c:pt idx="12">
                  <c:v>0.00344724844799231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157831972021869</c:v>
                </c:pt>
                <c:pt idx="6">
                  <c:v>0.0701017421469276</c:v>
                </c:pt>
                <c:pt idx="8">
                  <c:v>0.02196772172098512</c:v>
                </c:pt>
                <c:pt idx="9">
                  <c:v>0.4345337600404589</c:v>
                </c:pt>
                <c:pt idx="10">
                  <c:v>0.052986577548062776</c:v>
                </c:pt>
                <c:pt idx="11">
                  <c:v>0.0005478749548586796</c:v>
                </c:pt>
                <c:pt idx="12">
                  <c:v>0.00344724844799231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157831972021869</c:v>
                </c:pt>
                <c:pt idx="6">
                  <c:v>0.0701017421469276</c:v>
                </c:pt>
                <c:pt idx="8">
                  <c:v>0.02196772172098512</c:v>
                </c:pt>
                <c:pt idx="9">
                  <c:v>0.4345337600404589</c:v>
                </c:pt>
                <c:pt idx="10">
                  <c:v>0.052986577548062776</c:v>
                </c:pt>
                <c:pt idx="11">
                  <c:v>0.0005478749548586796</c:v>
                </c:pt>
                <c:pt idx="12">
                  <c:v>0.00344724844799231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916103438794085</c:v>
                </c:pt>
                <c:pt idx="1">
                  <c:v>0.019310351879507845</c:v>
                </c:pt>
                <c:pt idx="2">
                  <c:v>0.015668853518267908</c:v>
                </c:pt>
                <c:pt idx="3">
                  <c:v>0.07156373157411233</c:v>
                </c:pt>
                <c:pt idx="4">
                  <c:v>0.04899606423148349</c:v>
                </c:pt>
                <c:pt idx="5">
                  <c:v>0.1741581226481188</c:v>
                </c:pt>
                <c:pt idx="6">
                  <c:v>0.06974954014798468</c:v>
                </c:pt>
                <c:pt idx="7">
                  <c:v>0.14760341895829018</c:v>
                </c:pt>
                <c:pt idx="8">
                  <c:v>0.2597462502277981</c:v>
                </c:pt>
                <c:pt idx="9">
                  <c:v>0.1028193811870014</c:v>
                </c:pt>
                <c:pt idx="10">
                  <c:v>0.08482160227351104</c:v>
                </c:pt>
                <c:pt idx="11">
                  <c:v>0.00063486379337584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916350653112848</c:v>
                </c:pt>
                <c:pt idx="2">
                  <c:v>0.008653908997109138</c:v>
                </c:pt>
                <c:pt idx="3">
                  <c:v>0.01280990463811551</c:v>
                </c:pt>
                <c:pt idx="4">
                  <c:v>0.009283558709014268</c:v>
                </c:pt>
                <c:pt idx="6">
                  <c:v>0.017286638141688515</c:v>
                </c:pt>
                <c:pt idx="7">
                  <c:v>0.028045653572117496</c:v>
                </c:pt>
                <c:pt idx="8">
                  <c:v>0.006981817236849312</c:v>
                </c:pt>
                <c:pt idx="9">
                  <c:v>0.01757523390085143</c:v>
                </c:pt>
                <c:pt idx="10">
                  <c:v>0.001394290725108577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8653908997109138</c:v>
                </c:pt>
                <c:pt idx="3">
                  <c:v>0.006107817300749283</c:v>
                </c:pt>
                <c:pt idx="5">
                  <c:v>0.004501061785253174</c:v>
                </c:pt>
                <c:pt idx="8">
                  <c:v>0.006913891241966757</c:v>
                </c:pt>
                <c:pt idx="9">
                  <c:v>0.001310073895576393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4774268895712905</c:v>
                </c:pt>
                <c:pt idx="4">
                  <c:v>0.005663514544752883</c:v>
                </c:pt>
                <c:pt idx="5">
                  <c:v>0.010188993754420289</c:v>
                </c:pt>
                <c:pt idx="6">
                  <c:v>0.03165940625738098</c:v>
                </c:pt>
                <c:pt idx="7">
                  <c:v>0.06183951420259233</c:v>
                </c:pt>
                <c:pt idx="8">
                  <c:v>0.012373716944806034</c:v>
                </c:pt>
                <c:pt idx="9">
                  <c:v>0.0007379596707328069</c:v>
                </c:pt>
                <c:pt idx="10">
                  <c:v>0.0070648129646192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0428785403628555</c:v>
                </c:pt>
                <c:pt idx="1">
                  <c:v>0.0024511400836199422</c:v>
                </c:pt>
                <c:pt idx="2">
                  <c:v>0.0007219155155455369</c:v>
                </c:pt>
                <c:pt idx="3">
                  <c:v>0.013833375422023989</c:v>
                </c:pt>
                <c:pt idx="4">
                  <c:v>0.01935020252399229</c:v>
                </c:pt>
                <c:pt idx="5">
                  <c:v>0.014422430608698373</c:v>
                </c:pt>
                <c:pt idx="6">
                  <c:v>0.02946729728408955</c:v>
                </c:pt>
                <c:pt idx="7">
                  <c:v>0.06922173908363151</c:v>
                </c:pt>
                <c:pt idx="8">
                  <c:v>0.06337576857405211</c:v>
                </c:pt>
                <c:pt idx="9">
                  <c:v>0.060740408114248724</c:v>
                </c:pt>
                <c:pt idx="10">
                  <c:v>0.0714713850809281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826758479830144</c:v>
                </c:pt>
                <c:pt idx="1">
                  <c:v>0.010287772356950057</c:v>
                </c:pt>
                <c:pt idx="2">
                  <c:v>0.004812596428999862</c:v>
                </c:pt>
                <c:pt idx="3">
                  <c:v>0.031486232663974476</c:v>
                </c:pt>
                <c:pt idx="4">
                  <c:v>0.016863693523689997</c:v>
                </c:pt>
                <c:pt idx="5">
                  <c:v>0.03221402160983405</c:v>
                </c:pt>
                <c:pt idx="6">
                  <c:v>0.07899194642120848</c:v>
                </c:pt>
                <c:pt idx="7">
                  <c:v>0.03182186504784773</c:v>
                </c:pt>
                <c:pt idx="8">
                  <c:v>0.015354991941773491</c:v>
                </c:pt>
                <c:pt idx="10">
                  <c:v>0.001873121689588511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3498427346959585</c:v>
                </c:pt>
                <c:pt idx="4">
                  <c:v>0.007596884427017033</c:v>
                </c:pt>
                <c:pt idx="5">
                  <c:v>0.015698186857076857</c:v>
                </c:pt>
                <c:pt idx="6">
                  <c:v>0.01251329679149295</c:v>
                </c:pt>
                <c:pt idx="7">
                  <c:v>0.034229674846467474</c:v>
                </c:pt>
                <c:pt idx="8">
                  <c:v>0.05613274007224902</c:v>
                </c:pt>
                <c:pt idx="9">
                  <c:v>0.013659850636984161</c:v>
                </c:pt>
                <c:pt idx="10">
                  <c:v>0.010633097476208742</c:v>
                </c:pt>
                <c:pt idx="12">
                  <c:v>0.00058421688793604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916103438794085</c:v>
                </c:pt>
                <c:pt idx="1">
                  <c:v>0.019310351879507845</c:v>
                </c:pt>
                <c:pt idx="2">
                  <c:v>0.015668853518267908</c:v>
                </c:pt>
                <c:pt idx="3">
                  <c:v>0.07156373157411233</c:v>
                </c:pt>
                <c:pt idx="4">
                  <c:v>0.04899606423148349</c:v>
                </c:pt>
                <c:pt idx="5">
                  <c:v>0.1741581226481188</c:v>
                </c:pt>
                <c:pt idx="6">
                  <c:v>0.06974954014798468</c:v>
                </c:pt>
                <c:pt idx="7">
                  <c:v>0.14760341895829018</c:v>
                </c:pt>
                <c:pt idx="8">
                  <c:v>0.2597462502277981</c:v>
                </c:pt>
                <c:pt idx="9">
                  <c:v>0.1028193811870014</c:v>
                </c:pt>
                <c:pt idx="10">
                  <c:v>0.08482160227351104</c:v>
                </c:pt>
                <c:pt idx="11">
                  <c:v>0.00063486379337584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10546476866744295</c:v>
                </c:pt>
                <c:pt idx="7">
                  <c:v>0.009299097978199142</c:v>
                </c:pt>
                <c:pt idx="8">
                  <c:v>0.018530708758939425</c:v>
                </c:pt>
                <c:pt idx="10">
                  <c:v>0.00190595388070935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3498427346959585</c:v>
                </c:pt>
                <c:pt idx="4">
                  <c:v>0.007596884427017033</c:v>
                </c:pt>
                <c:pt idx="5">
                  <c:v>0.015698186857076857</c:v>
                </c:pt>
                <c:pt idx="6">
                  <c:v>0.01251329679149295</c:v>
                </c:pt>
                <c:pt idx="7">
                  <c:v>0.034229674846467474</c:v>
                </c:pt>
                <c:pt idx="8">
                  <c:v>0.05613274007224902</c:v>
                </c:pt>
                <c:pt idx="9">
                  <c:v>0.013659850636984161</c:v>
                </c:pt>
                <c:pt idx="10">
                  <c:v>0.010633097476208742</c:v>
                </c:pt>
                <c:pt idx="12">
                  <c:v>0.00058421688793604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3498427346959585</c:v>
                </c:pt>
                <c:pt idx="4">
                  <c:v>0.007596884427017033</c:v>
                </c:pt>
                <c:pt idx="5">
                  <c:v>0.015698186857076857</c:v>
                </c:pt>
                <c:pt idx="6">
                  <c:v>0.01251329679149295</c:v>
                </c:pt>
                <c:pt idx="7">
                  <c:v>0.034229674846467474</c:v>
                </c:pt>
                <c:pt idx="8">
                  <c:v>0.05613274007224902</c:v>
                </c:pt>
                <c:pt idx="9">
                  <c:v>0.013659850636984161</c:v>
                </c:pt>
                <c:pt idx="10">
                  <c:v>0.010633097476208742</c:v>
                </c:pt>
                <c:pt idx="12">
                  <c:v>0.00058421688793604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3498427346959585</c:v>
                </c:pt>
                <c:pt idx="4">
                  <c:v>0.007596884427017033</c:v>
                </c:pt>
                <c:pt idx="5">
                  <c:v>0.015698186857076857</c:v>
                </c:pt>
                <c:pt idx="6">
                  <c:v>0.01251329679149295</c:v>
                </c:pt>
                <c:pt idx="7">
                  <c:v>0.034229674846467474</c:v>
                </c:pt>
                <c:pt idx="8">
                  <c:v>0.05613274007224902</c:v>
                </c:pt>
                <c:pt idx="9">
                  <c:v>0.013659850636984161</c:v>
                </c:pt>
                <c:pt idx="10">
                  <c:v>0.010633097476208742</c:v>
                </c:pt>
                <c:pt idx="12">
                  <c:v>0.00058421688793604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403361837539186</c:v>
                </c:pt>
                <c:pt idx="1">
                  <c:v>0.04915668720181369</c:v>
                </c:pt>
                <c:pt idx="3">
                  <c:v>0.015322460926377875</c:v>
                </c:pt>
                <c:pt idx="4">
                  <c:v>0.0036291236589418288</c:v>
                </c:pt>
                <c:pt idx="5">
                  <c:v>0.43551058204344495</c:v>
                </c:pt>
                <c:pt idx="7">
                  <c:v>0.4794515493481242</c:v>
                </c:pt>
                <c:pt idx="10">
                  <c:v>0.0151892606375435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403361837539186</c:v>
                </c:pt>
                <c:pt idx="1">
                  <c:v>0.04915668720181369</c:v>
                </c:pt>
                <c:pt idx="3">
                  <c:v>0.015322460926377875</c:v>
                </c:pt>
                <c:pt idx="4">
                  <c:v>0.0036291236589418288</c:v>
                </c:pt>
                <c:pt idx="5">
                  <c:v>0.43551058204344495</c:v>
                </c:pt>
                <c:pt idx="7">
                  <c:v>0.4794515493481242</c:v>
                </c:pt>
                <c:pt idx="10">
                  <c:v>0.0151892606375435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916103438794085</c:v>
                </c:pt>
                <c:pt idx="1">
                  <c:v>0.019310351879507845</c:v>
                </c:pt>
                <c:pt idx="2">
                  <c:v>0.015668853518267908</c:v>
                </c:pt>
                <c:pt idx="3">
                  <c:v>0.07156373157411233</c:v>
                </c:pt>
                <c:pt idx="4">
                  <c:v>0.04899606423148349</c:v>
                </c:pt>
                <c:pt idx="5">
                  <c:v>0.1741581226481188</c:v>
                </c:pt>
                <c:pt idx="6">
                  <c:v>0.06974954014798468</c:v>
                </c:pt>
                <c:pt idx="7">
                  <c:v>0.14760341895829018</c:v>
                </c:pt>
                <c:pt idx="8">
                  <c:v>0.2597462502277981</c:v>
                </c:pt>
                <c:pt idx="9">
                  <c:v>0.1028193811870014</c:v>
                </c:pt>
                <c:pt idx="10">
                  <c:v>0.08482160227351104</c:v>
                </c:pt>
                <c:pt idx="11">
                  <c:v>0.00063486379337584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6734849459052232</c:v>
                </c:pt>
                <c:pt idx="6">
                  <c:v>0.4128333822640951</c:v>
                </c:pt>
                <c:pt idx="7">
                  <c:v>0.016386580516175055</c:v>
                </c:pt>
                <c:pt idx="9">
                  <c:v>0.05412728953504454</c:v>
                </c:pt>
                <c:pt idx="10">
                  <c:v>0.43748439270454476</c:v>
                </c:pt>
                <c:pt idx="11">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916350653112848</c:v>
                </c:pt>
                <c:pt idx="2">
                  <c:v>0.008653908997109138</c:v>
                </c:pt>
                <c:pt idx="3">
                  <c:v>0.01280990463811551</c:v>
                </c:pt>
                <c:pt idx="4">
                  <c:v>0.009283558709014268</c:v>
                </c:pt>
                <c:pt idx="6">
                  <c:v>0.017286638141688515</c:v>
                </c:pt>
                <c:pt idx="7">
                  <c:v>0.028045653572117496</c:v>
                </c:pt>
                <c:pt idx="8">
                  <c:v>0.006981817236849312</c:v>
                </c:pt>
                <c:pt idx="9">
                  <c:v>0.01757523390085143</c:v>
                </c:pt>
                <c:pt idx="10">
                  <c:v>0.001394290725108577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6734849459052232</c:v>
                </c:pt>
                <c:pt idx="6">
                  <c:v>0.4128333822640951</c:v>
                </c:pt>
                <c:pt idx="7">
                  <c:v>0.016386580516175055</c:v>
                </c:pt>
                <c:pt idx="9">
                  <c:v>0.05412728953504454</c:v>
                </c:pt>
                <c:pt idx="10">
                  <c:v>0.43748439270454476</c:v>
                </c:pt>
                <c:pt idx="11">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5376512596197229</c:v>
                </c:pt>
                <c:pt idx="6">
                  <c:v>0.002787185905345995</c:v>
                </c:pt>
                <c:pt idx="7">
                  <c:v>0.009280119797506316</c:v>
                </c:pt>
                <c:pt idx="9">
                  <c:v>0.004100300644014449</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4774268895712905</c:v>
                </c:pt>
                <c:pt idx="4">
                  <c:v>0.005663514544752883</c:v>
                </c:pt>
                <c:pt idx="5">
                  <c:v>0.010188993754420289</c:v>
                </c:pt>
                <c:pt idx="6">
                  <c:v>0.03165940625738098</c:v>
                </c:pt>
                <c:pt idx="7">
                  <c:v>0.06183951420259233</c:v>
                </c:pt>
                <c:pt idx="8">
                  <c:v>0.012373716944806034</c:v>
                </c:pt>
                <c:pt idx="9">
                  <c:v>0.0007379596707328069</c:v>
                </c:pt>
                <c:pt idx="10">
                  <c:v>0.0070648129646192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287810242930141</c:v>
                </c:pt>
                <c:pt idx="1">
                  <c:v>0.020023523609660875</c:v>
                </c:pt>
                <c:pt idx="2">
                  <c:v>0.013723429107454667</c:v>
                </c:pt>
                <c:pt idx="3">
                  <c:v>0.07129344466409372</c:v>
                </c:pt>
                <c:pt idx="4">
                  <c:v>0.04793878273161689</c:v>
                </c:pt>
                <c:pt idx="5">
                  <c:v>0.16568816572178582</c:v>
                </c:pt>
                <c:pt idx="6">
                  <c:v>0.059864438195894244</c:v>
                </c:pt>
                <c:pt idx="7">
                  <c:v>0.16391615246101154</c:v>
                </c:pt>
                <c:pt idx="8">
                  <c:v>0.2609160386574467</c:v>
                </c:pt>
                <c:pt idx="9">
                  <c:v>0.10528163732341587</c:v>
                </c:pt>
                <c:pt idx="10">
                  <c:v>0.086862495206883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5904404933453938</c:v>
                </c:pt>
                <c:pt idx="2">
                  <c:v>0.010098768442806877</c:v>
                </c:pt>
                <c:pt idx="3">
                  <c:v>0.017960493740542545</c:v>
                </c:pt>
                <c:pt idx="4">
                  <c:v>0.00769389523463391</c:v>
                </c:pt>
                <c:pt idx="5">
                  <c:v>0.0009782410576546021</c:v>
                </c:pt>
                <c:pt idx="6">
                  <c:v>0.011803433356024942</c:v>
                </c:pt>
                <c:pt idx="7">
                  <c:v>0.02469713118212448</c:v>
                </c:pt>
                <c:pt idx="8">
                  <c:v>0.004647653401319591</c:v>
                </c:pt>
                <c:pt idx="9">
                  <c:v>0.022333927059972964</c:v>
                </c:pt>
                <c:pt idx="10">
                  <c:v>0.00277325659130940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0098768442806877</c:v>
                </c:pt>
                <c:pt idx="3">
                  <c:v>0.008479239880879232</c:v>
                </c:pt>
                <c:pt idx="5">
                  <c:v>0.0009400241152511937</c:v>
                </c:pt>
                <c:pt idx="8">
                  <c:v>0.009185874751290178</c:v>
                </c:pt>
                <c:pt idx="9">
                  <c:v>0.001643238389048437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309779432539336</c:v>
                </c:pt>
                <c:pt idx="4">
                  <c:v>0.006490863744179826</c:v>
                </c:pt>
                <c:pt idx="5">
                  <c:v>0.025547295908863697</c:v>
                </c:pt>
                <c:pt idx="6">
                  <c:v>0.007360366784580957</c:v>
                </c:pt>
                <c:pt idx="7">
                  <c:v>0.0700881508027568</c:v>
                </c:pt>
                <c:pt idx="8">
                  <c:v>0.01026784235922271</c:v>
                </c:pt>
                <c:pt idx="10">
                  <c:v>0.00760059271593370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8989003417333752</c:v>
                </c:pt>
                <c:pt idx="2">
                  <c:v>0.0005895053500023858</c:v>
                </c:pt>
                <c:pt idx="3">
                  <c:v>0.01977252662968264</c:v>
                </c:pt>
                <c:pt idx="4">
                  <c:v>0.011363943025100654</c:v>
                </c:pt>
                <c:pt idx="5">
                  <c:v>0.012170874835746016</c:v>
                </c:pt>
                <c:pt idx="6">
                  <c:v>0.034525181260524195</c:v>
                </c:pt>
                <c:pt idx="7">
                  <c:v>0.05952409559290332</c:v>
                </c:pt>
                <c:pt idx="8">
                  <c:v>0.09585706892384101</c:v>
                </c:pt>
                <c:pt idx="9">
                  <c:v>0.06779450331846544</c:v>
                </c:pt>
                <c:pt idx="10">
                  <c:v>0.057050391327970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3305344230185403</c:v>
                </c:pt>
                <c:pt idx="1">
                  <c:v>0.007229392635980974</c:v>
                </c:pt>
                <c:pt idx="2">
                  <c:v>0.002870624166854882</c:v>
                </c:pt>
                <c:pt idx="3">
                  <c:v>0.028013649721785164</c:v>
                </c:pt>
                <c:pt idx="4">
                  <c:v>0.014082028412530045</c:v>
                </c:pt>
                <c:pt idx="5">
                  <c:v>0.0310530638820168</c:v>
                </c:pt>
                <c:pt idx="6">
                  <c:v>0.0797606065490247</c:v>
                </c:pt>
                <c:pt idx="7">
                  <c:v>0.03539029025389191</c:v>
                </c:pt>
                <c:pt idx="8">
                  <c:v>0.015801750260249266</c:v>
                </c:pt>
                <c:pt idx="10">
                  <c:v>0.00258036919332993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305844547647415</c:v>
                </c:pt>
                <c:pt idx="4">
                  <c:v>0.006390332454770294</c:v>
                </c:pt>
                <c:pt idx="5">
                  <c:v>0.013130733003298789</c:v>
                </c:pt>
                <c:pt idx="6">
                  <c:v>0.00830189163589587</c:v>
                </c:pt>
                <c:pt idx="7">
                  <c:v>0.030519919508629628</c:v>
                </c:pt>
                <c:pt idx="8">
                  <c:v>0.05370866222512487</c:v>
                </c:pt>
                <c:pt idx="9">
                  <c:v>0.01299211095950322</c:v>
                </c:pt>
                <c:pt idx="10">
                  <c:v>0.01579210138363538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064277521102375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287810242930141</c:v>
                </c:pt>
                <c:pt idx="1">
                  <c:v>0.020023523609660875</c:v>
                </c:pt>
                <c:pt idx="2">
                  <c:v>0.013723429107454667</c:v>
                </c:pt>
                <c:pt idx="3">
                  <c:v>0.07129344466409372</c:v>
                </c:pt>
                <c:pt idx="4">
                  <c:v>0.04793878273161689</c:v>
                </c:pt>
                <c:pt idx="5">
                  <c:v>0.16568816572178582</c:v>
                </c:pt>
                <c:pt idx="6">
                  <c:v>0.059864438195894244</c:v>
                </c:pt>
                <c:pt idx="7">
                  <c:v>0.16391615246101154</c:v>
                </c:pt>
                <c:pt idx="8">
                  <c:v>0.2609160386574467</c:v>
                </c:pt>
                <c:pt idx="9">
                  <c:v>0.10528163732341587</c:v>
                </c:pt>
                <c:pt idx="10">
                  <c:v>0.086862495206883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09209156440494895</c:v>
                </c:pt>
                <c:pt idx="7">
                  <c:v>0.00682191800774935</c:v>
                </c:pt>
                <c:pt idx="8">
                  <c:v>0.017507708600645374</c:v>
                </c:pt>
                <c:pt idx="9">
                  <c:v>0.00272424606670597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305844547647415</c:v>
                </c:pt>
                <c:pt idx="4">
                  <c:v>0.006390332454770294</c:v>
                </c:pt>
                <c:pt idx="5">
                  <c:v>0.013130733003298789</c:v>
                </c:pt>
                <c:pt idx="6">
                  <c:v>0.00830189163589587</c:v>
                </c:pt>
                <c:pt idx="7">
                  <c:v>0.030519919508629628</c:v>
                </c:pt>
                <c:pt idx="8">
                  <c:v>0.05370866222512487</c:v>
                </c:pt>
                <c:pt idx="9">
                  <c:v>0.01299211095950322</c:v>
                </c:pt>
                <c:pt idx="10">
                  <c:v>0.01579210138363538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305844547647415</c:v>
                </c:pt>
                <c:pt idx="4">
                  <c:v>0.006390332454770294</c:v>
                </c:pt>
                <c:pt idx="5">
                  <c:v>0.013130733003298789</c:v>
                </c:pt>
                <c:pt idx="6">
                  <c:v>0.00830189163589587</c:v>
                </c:pt>
                <c:pt idx="7">
                  <c:v>0.030519919508629628</c:v>
                </c:pt>
                <c:pt idx="8">
                  <c:v>0.05370866222512487</c:v>
                </c:pt>
                <c:pt idx="9">
                  <c:v>0.01299211095950322</c:v>
                </c:pt>
                <c:pt idx="10">
                  <c:v>0.0157921013836353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0428785403628555</c:v>
                </c:pt>
                <c:pt idx="1">
                  <c:v>0.0024511400836199422</c:v>
                </c:pt>
                <c:pt idx="2">
                  <c:v>0.0007219155155455369</c:v>
                </c:pt>
                <c:pt idx="3">
                  <c:v>0.013833375422023989</c:v>
                </c:pt>
                <c:pt idx="4">
                  <c:v>0.01935020252399229</c:v>
                </c:pt>
                <c:pt idx="5">
                  <c:v>0.014422430608698373</c:v>
                </c:pt>
                <c:pt idx="6">
                  <c:v>0.02946729728408955</c:v>
                </c:pt>
                <c:pt idx="7">
                  <c:v>0.06922173908363151</c:v>
                </c:pt>
                <c:pt idx="8">
                  <c:v>0.06337576857405211</c:v>
                </c:pt>
                <c:pt idx="9">
                  <c:v>0.060740408114248724</c:v>
                </c:pt>
                <c:pt idx="10">
                  <c:v>0.0714713850809281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305844547647415</c:v>
                </c:pt>
                <c:pt idx="4">
                  <c:v>0.006390332454770294</c:v>
                </c:pt>
                <c:pt idx="5">
                  <c:v>0.013130733003298789</c:v>
                </c:pt>
                <c:pt idx="6">
                  <c:v>0.00830189163589587</c:v>
                </c:pt>
                <c:pt idx="7">
                  <c:v>0.030519919508629628</c:v>
                </c:pt>
                <c:pt idx="8">
                  <c:v>0.05370866222512487</c:v>
                </c:pt>
                <c:pt idx="9">
                  <c:v>0.01299211095950322</c:v>
                </c:pt>
                <c:pt idx="10">
                  <c:v>0.01579210138363538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346241200463286</c:v>
                </c:pt>
                <c:pt idx="6">
                  <c:v>0.06130635469218953</c:v>
                </c:pt>
                <c:pt idx="7">
                  <c:v>0.025558696901447086</c:v>
                </c:pt>
                <c:pt idx="9">
                  <c:v>0.004820224078680782</c:v>
                </c:pt>
                <c:pt idx="10">
                  <c:v>0.47369060428135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346241200463286</c:v>
                </c:pt>
                <c:pt idx="6">
                  <c:v>0.06130635469218953</c:v>
                </c:pt>
                <c:pt idx="7">
                  <c:v>0.025558696901447086</c:v>
                </c:pt>
                <c:pt idx="9">
                  <c:v>0.004820224078680782</c:v>
                </c:pt>
                <c:pt idx="10">
                  <c:v>0.47369060428135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826758479830144</c:v>
                </c:pt>
                <c:pt idx="1">
                  <c:v>0.010287772356950057</c:v>
                </c:pt>
                <c:pt idx="2">
                  <c:v>0.004812596428999862</c:v>
                </c:pt>
                <c:pt idx="3">
                  <c:v>0.031486232663974476</c:v>
                </c:pt>
                <c:pt idx="4">
                  <c:v>0.016863693523689997</c:v>
                </c:pt>
                <c:pt idx="5">
                  <c:v>0.03221402160983405</c:v>
                </c:pt>
                <c:pt idx="6">
                  <c:v>0.07899194642120848</c:v>
                </c:pt>
                <c:pt idx="7">
                  <c:v>0.03182186504784773</c:v>
                </c:pt>
                <c:pt idx="8">
                  <c:v>0.015354991941773491</c:v>
                </c:pt>
                <c:pt idx="10">
                  <c:v>0.001873121689588511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143644917460734</c:v>
                </c:pt>
                <c:pt idx="1">
                  <c:v>0.029401906875188205</c:v>
                </c:pt>
                <c:pt idx="4">
                  <c:v>0.12607359527604595</c:v>
                </c:pt>
                <c:pt idx="5">
                  <c:v>0.002457809121343675</c:v>
                </c:pt>
                <c:pt idx="6">
                  <c:v>0.25213010765919697</c:v>
                </c:pt>
                <c:pt idx="7">
                  <c:v>0.008552129724142214</c:v>
                </c:pt>
                <c:pt idx="8">
                  <c:v>0.39132364067278447</c:v>
                </c:pt>
                <c:pt idx="9">
                  <c:v>0.1757517287919234</c:v>
                </c:pt>
                <c:pt idx="10">
                  <c:v>0.002583863736266491</c:v>
                </c:pt>
                <c:pt idx="11">
                  <c:v>0.0042531055920174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9601321791568938</c:v>
                </c:pt>
                <c:pt idx="3">
                  <c:v>0.019999599923363302</c:v>
                </c:pt>
                <c:pt idx="5">
                  <c:v>0.02407417749737505</c:v>
                </c:pt>
                <c:pt idx="7">
                  <c:v>0.0012922107373036947</c:v>
                </c:pt>
                <c:pt idx="8">
                  <c:v>0.036258471793841</c:v>
                </c:pt>
                <c:pt idx="10">
                  <c:v>0.0205296698426491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9601321791568938</c:v>
                </c:pt>
                <c:pt idx="3">
                  <c:v>0.008431721491186019</c:v>
                </c:pt>
                <c:pt idx="5">
                  <c:v>0.0031929542536860422</c:v>
                </c:pt>
                <c:pt idx="8">
                  <c:v>0.010638531109486055</c:v>
                </c:pt>
                <c:pt idx="9">
                  <c:v>0.000671729707994251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3008003619940328</c:v>
                </c:pt>
                <c:pt idx="4">
                  <c:v>0.01074366191180548</c:v>
                </c:pt>
                <c:pt idx="6">
                  <c:v>0.043976334207715635</c:v>
                </c:pt>
                <c:pt idx="8">
                  <c:v>0.08262392705877278</c:v>
                </c:pt>
                <c:pt idx="10">
                  <c:v>0.00739712836857930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2657044181484169</c:v>
                </c:pt>
                <c:pt idx="5">
                  <c:v>0.04200536740929833</c:v>
                </c:pt>
                <c:pt idx="7">
                  <c:v>0.004383507116071369</c:v>
                </c:pt>
                <c:pt idx="8">
                  <c:v>0.12039944138997732</c:v>
                </c:pt>
                <c:pt idx="9">
                  <c:v>0.002023169957149423</c:v>
                </c:pt>
                <c:pt idx="10">
                  <c:v>0.1266949215376864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6977237646079937</c:v>
                </c:pt>
                <c:pt idx="1">
                  <c:v>0.016101629907503006</c:v>
                </c:pt>
                <c:pt idx="4">
                  <c:v>0.0540167225709272</c:v>
                </c:pt>
                <c:pt idx="5">
                  <c:v>0.11074555419724867</c:v>
                </c:pt>
                <c:pt idx="6">
                  <c:v>0.00229974492555714</c:v>
                </c:pt>
                <c:pt idx="8">
                  <c:v>0.0449915617351456</c:v>
                </c:pt>
                <c:pt idx="10">
                  <c:v>0.00329884979001927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208356123221511</c:v>
                </c:pt>
                <c:pt idx="3">
                  <c:v>0.014731836042016418</c:v>
                </c:pt>
                <c:pt idx="5">
                  <c:v>0.0298699068419999</c:v>
                </c:pt>
                <c:pt idx="7">
                  <c:v>0.08028224825981181</c:v>
                </c:pt>
                <c:pt idx="8">
                  <c:v>0.0016705183290672196</c:v>
                </c:pt>
                <c:pt idx="10">
                  <c:v>0.015195282104024077</c:v>
                </c:pt>
                <c:pt idx="11">
                  <c:v>0.0042046801043159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3498427346959585</c:v>
                </c:pt>
                <c:pt idx="4">
                  <c:v>0.007596884427017033</c:v>
                </c:pt>
                <c:pt idx="5">
                  <c:v>0.015698186857076857</c:v>
                </c:pt>
                <c:pt idx="6">
                  <c:v>0.01251329679149295</c:v>
                </c:pt>
                <c:pt idx="7">
                  <c:v>0.034229674846467474</c:v>
                </c:pt>
                <c:pt idx="8">
                  <c:v>0.05613274007224902</c:v>
                </c:pt>
                <c:pt idx="9">
                  <c:v>0.013659850636984161</c:v>
                </c:pt>
                <c:pt idx="10">
                  <c:v>0.010633097476208742</c:v>
                </c:pt>
                <c:pt idx="12">
                  <c:v>0.00058421688793604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143644917460734</c:v>
                </c:pt>
                <c:pt idx="1">
                  <c:v>0.029401906875188205</c:v>
                </c:pt>
                <c:pt idx="4">
                  <c:v>0.12607359527604595</c:v>
                </c:pt>
                <c:pt idx="5">
                  <c:v>0.002457809121343675</c:v>
                </c:pt>
                <c:pt idx="6">
                  <c:v>0.25213010765919697</c:v>
                </c:pt>
                <c:pt idx="7">
                  <c:v>0.008552129724142214</c:v>
                </c:pt>
                <c:pt idx="8">
                  <c:v>0.39132364067278447</c:v>
                </c:pt>
                <c:pt idx="9">
                  <c:v>0.1757517287919234</c:v>
                </c:pt>
                <c:pt idx="10">
                  <c:v>0.002583863736266491</c:v>
                </c:pt>
                <c:pt idx="11">
                  <c:v>0.0042531055920174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14587675055593718</c:v>
                </c:pt>
                <c:pt idx="8">
                  <c:v>0.026767990435235943</c:v>
                </c:pt>
                <c:pt idx="9">
                  <c:v>0.00263587714896510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208356123221511</c:v>
                </c:pt>
                <c:pt idx="3">
                  <c:v>0.014731836042016418</c:v>
                </c:pt>
                <c:pt idx="5">
                  <c:v>0.0298699068419999</c:v>
                </c:pt>
                <c:pt idx="7">
                  <c:v>0.08028224825981181</c:v>
                </c:pt>
                <c:pt idx="8">
                  <c:v>0.0016705183290672196</c:v>
                </c:pt>
                <c:pt idx="10">
                  <c:v>0.015195282104024077</c:v>
                </c:pt>
                <c:pt idx="11">
                  <c:v>0.0042046801043159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208356123221511</c:v>
                </c:pt>
                <c:pt idx="3">
                  <c:v>0.014731836042016418</c:v>
                </c:pt>
                <c:pt idx="5">
                  <c:v>0.0298699068419999</c:v>
                </c:pt>
                <c:pt idx="7">
                  <c:v>0.08028224825981181</c:v>
                </c:pt>
                <c:pt idx="8">
                  <c:v>0.0016705183290672196</c:v>
                </c:pt>
                <c:pt idx="10">
                  <c:v>0.015195282104024077</c:v>
                </c:pt>
                <c:pt idx="11">
                  <c:v>0.0042046801043159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208356123221511</c:v>
                </c:pt>
                <c:pt idx="3">
                  <c:v>0.014731836042016418</c:v>
                </c:pt>
                <c:pt idx="5">
                  <c:v>0.0298699068419999</c:v>
                </c:pt>
                <c:pt idx="7">
                  <c:v>0.08028224825981181</c:v>
                </c:pt>
                <c:pt idx="8">
                  <c:v>0.0016705183290672196</c:v>
                </c:pt>
                <c:pt idx="10">
                  <c:v>0.015195282104024077</c:v>
                </c:pt>
                <c:pt idx="11">
                  <c:v>0.0042046801043159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317326504995634</c:v>
                </c:pt>
                <c:pt idx="1">
                  <c:v>0.0491721026051903</c:v>
                </c:pt>
                <c:pt idx="3">
                  <c:v>0.015327587220883452</c:v>
                </c:pt>
                <c:pt idx="4">
                  <c:v>0.0036267341626128333</c:v>
                </c:pt>
                <c:pt idx="5">
                  <c:v>0.4355865584572655</c:v>
                </c:pt>
                <c:pt idx="7">
                  <c:v>0.4793645137897594</c:v>
                </c:pt>
                <c:pt idx="10">
                  <c:v>0.0151907711137889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317326504995634</c:v>
                </c:pt>
                <c:pt idx="1">
                  <c:v>0.0491721026051903</c:v>
                </c:pt>
                <c:pt idx="3">
                  <c:v>0.015327587220883452</c:v>
                </c:pt>
                <c:pt idx="4">
                  <c:v>0.0036267341626128333</c:v>
                </c:pt>
                <c:pt idx="5">
                  <c:v>0.4355865584572655</c:v>
                </c:pt>
                <c:pt idx="7">
                  <c:v>0.4793645137897594</c:v>
                </c:pt>
                <c:pt idx="10">
                  <c:v>0.0151907711137889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916103438794085</c:v>
                </c:pt>
                <c:pt idx="1">
                  <c:v>0.019310351879507845</c:v>
                </c:pt>
                <c:pt idx="2">
                  <c:v>0.015668853518267908</c:v>
                </c:pt>
                <c:pt idx="3">
                  <c:v>0.07156373157411233</c:v>
                </c:pt>
                <c:pt idx="4">
                  <c:v>0.04899606423148349</c:v>
                </c:pt>
                <c:pt idx="5">
                  <c:v>0.1741581226481188</c:v>
                </c:pt>
                <c:pt idx="6">
                  <c:v>0.06974954014798468</c:v>
                </c:pt>
                <c:pt idx="7">
                  <c:v>0.14760341895829018</c:v>
                </c:pt>
                <c:pt idx="8">
                  <c:v>0.2597462502277981</c:v>
                </c:pt>
                <c:pt idx="9">
                  <c:v>0.1028193811870014</c:v>
                </c:pt>
                <c:pt idx="10">
                  <c:v>0.08482160227351104</c:v>
                </c:pt>
                <c:pt idx="11">
                  <c:v>0.00063486379337584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157831972021869</c:v>
                </c:pt>
                <c:pt idx="6">
                  <c:v>0.0701017421469276</c:v>
                </c:pt>
                <c:pt idx="8">
                  <c:v>0.02196772172098512</c:v>
                </c:pt>
                <c:pt idx="9">
                  <c:v>0.4345337600404589</c:v>
                </c:pt>
                <c:pt idx="10">
                  <c:v>0.052986577548062776</c:v>
                </c:pt>
                <c:pt idx="11">
                  <c:v>0.0005478749548586796</c:v>
                </c:pt>
                <c:pt idx="12">
                  <c:v>0.00344724844799231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10546476866744295</c:v>
                </c:pt>
                <c:pt idx="7">
                  <c:v>0.009299097978199142</c:v>
                </c:pt>
                <c:pt idx="8">
                  <c:v>0.018530708758939425</c:v>
                </c:pt>
                <c:pt idx="10">
                  <c:v>0.00190595388070935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157831972021869</c:v>
                </c:pt>
                <c:pt idx="6">
                  <c:v>0.0701017421469276</c:v>
                </c:pt>
                <c:pt idx="8">
                  <c:v>0.02196772172098512</c:v>
                </c:pt>
                <c:pt idx="9">
                  <c:v>0.4345337600404589</c:v>
                </c:pt>
                <c:pt idx="10">
                  <c:v>0.052986577548062776</c:v>
                </c:pt>
                <c:pt idx="11">
                  <c:v>0.0005478749548586796</c:v>
                </c:pt>
                <c:pt idx="12">
                  <c:v>0.00344724844799231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916103438794085</c:v>
                </c:pt>
                <c:pt idx="1">
                  <c:v>0.019310351879507845</c:v>
                </c:pt>
                <c:pt idx="2">
                  <c:v>0.015668853518267908</c:v>
                </c:pt>
                <c:pt idx="3">
                  <c:v>0.07156373157411233</c:v>
                </c:pt>
                <c:pt idx="4">
                  <c:v>0.04899606423148349</c:v>
                </c:pt>
                <c:pt idx="5">
                  <c:v>0.1741581226481188</c:v>
                </c:pt>
                <c:pt idx="6">
                  <c:v>0.06974954014798468</c:v>
                </c:pt>
                <c:pt idx="7">
                  <c:v>0.14760341895829018</c:v>
                </c:pt>
                <c:pt idx="8">
                  <c:v>0.2597462502277981</c:v>
                </c:pt>
                <c:pt idx="9">
                  <c:v>0.1028193811870014</c:v>
                </c:pt>
                <c:pt idx="10">
                  <c:v>0.08482160227351104</c:v>
                </c:pt>
                <c:pt idx="11">
                  <c:v>0.00063486379337584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916350653112848</c:v>
                </c:pt>
                <c:pt idx="2">
                  <c:v>0.008653908997109138</c:v>
                </c:pt>
                <c:pt idx="3">
                  <c:v>0.01280990463811551</c:v>
                </c:pt>
                <c:pt idx="4">
                  <c:v>0.009283558709014268</c:v>
                </c:pt>
                <c:pt idx="6">
                  <c:v>0.017286638141688515</c:v>
                </c:pt>
                <c:pt idx="7">
                  <c:v>0.028045653572117496</c:v>
                </c:pt>
                <c:pt idx="8">
                  <c:v>0.006981817236849312</c:v>
                </c:pt>
                <c:pt idx="9">
                  <c:v>0.01757523390085143</c:v>
                </c:pt>
                <c:pt idx="10">
                  <c:v>0.001394290725108577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4774268895712905</c:v>
                </c:pt>
                <c:pt idx="4">
                  <c:v>0.005663514544752883</c:v>
                </c:pt>
                <c:pt idx="5">
                  <c:v>0.010188993754420289</c:v>
                </c:pt>
                <c:pt idx="6">
                  <c:v>0.03165940625738098</c:v>
                </c:pt>
                <c:pt idx="7">
                  <c:v>0.06183951420259233</c:v>
                </c:pt>
                <c:pt idx="8">
                  <c:v>0.012373716944806034</c:v>
                </c:pt>
                <c:pt idx="9">
                  <c:v>0.0007379596707328069</c:v>
                </c:pt>
                <c:pt idx="10">
                  <c:v>0.0070648129646192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5223213252394106</c:v>
                </c:pt>
                <c:pt idx="7">
                  <c:v>0.008084425251392193</c:v>
                </c:pt>
                <c:pt idx="10">
                  <c:v>0.0019179381991376258</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0428785403628555</c:v>
                </c:pt>
                <c:pt idx="1">
                  <c:v>0.0024511400836199422</c:v>
                </c:pt>
                <c:pt idx="2">
                  <c:v>0.0007219155155455369</c:v>
                </c:pt>
                <c:pt idx="3">
                  <c:v>0.013833375422023989</c:v>
                </c:pt>
                <c:pt idx="4">
                  <c:v>0.01935020252399229</c:v>
                </c:pt>
                <c:pt idx="5">
                  <c:v>0.014422430608698373</c:v>
                </c:pt>
                <c:pt idx="6">
                  <c:v>0.02946729728408955</c:v>
                </c:pt>
                <c:pt idx="7">
                  <c:v>0.06922173908363151</c:v>
                </c:pt>
                <c:pt idx="8">
                  <c:v>0.06337576857405211</c:v>
                </c:pt>
                <c:pt idx="9">
                  <c:v>0.060740408114248724</c:v>
                </c:pt>
                <c:pt idx="10">
                  <c:v>0.0714713850809281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3407683886044822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826758479830144</c:v>
                </c:pt>
                <c:pt idx="1">
                  <c:v>0.010287772356950057</c:v>
                </c:pt>
                <c:pt idx="2">
                  <c:v>0.004812596428999862</c:v>
                </c:pt>
                <c:pt idx="3">
                  <c:v>0.031486232663974476</c:v>
                </c:pt>
                <c:pt idx="4">
                  <c:v>0.016863693523689997</c:v>
                </c:pt>
                <c:pt idx="5">
                  <c:v>0.03221402160983405</c:v>
                </c:pt>
                <c:pt idx="6">
                  <c:v>0.07899194642120848</c:v>
                </c:pt>
                <c:pt idx="7">
                  <c:v>0.03182186504784773</c:v>
                </c:pt>
                <c:pt idx="8">
                  <c:v>0.015354991941773491</c:v>
                </c:pt>
                <c:pt idx="10">
                  <c:v>0.001873121689588511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3498427346959585</c:v>
                </c:pt>
                <c:pt idx="4">
                  <c:v>0.007596884427017033</c:v>
                </c:pt>
                <c:pt idx="5">
                  <c:v>0.015698186857076857</c:v>
                </c:pt>
                <c:pt idx="6">
                  <c:v>0.01251329679149295</c:v>
                </c:pt>
                <c:pt idx="7">
                  <c:v>0.034229674846467474</c:v>
                </c:pt>
                <c:pt idx="8">
                  <c:v>0.05613274007224902</c:v>
                </c:pt>
                <c:pt idx="9">
                  <c:v>0.013659850636984161</c:v>
                </c:pt>
                <c:pt idx="10">
                  <c:v>0.010633097476208742</c:v>
                </c:pt>
                <c:pt idx="12">
                  <c:v>0.00058421688793604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916103438794085</c:v>
                </c:pt>
                <c:pt idx="1">
                  <c:v>0.019310351879507845</c:v>
                </c:pt>
                <c:pt idx="2">
                  <c:v>0.015668853518267908</c:v>
                </c:pt>
                <c:pt idx="3">
                  <c:v>0.07156373157411233</c:v>
                </c:pt>
                <c:pt idx="4">
                  <c:v>0.04899606423148349</c:v>
                </c:pt>
                <c:pt idx="5">
                  <c:v>0.1741581226481188</c:v>
                </c:pt>
                <c:pt idx="6">
                  <c:v>0.06974954014798468</c:v>
                </c:pt>
                <c:pt idx="7">
                  <c:v>0.14760341895829018</c:v>
                </c:pt>
                <c:pt idx="8">
                  <c:v>0.2597462502277981</c:v>
                </c:pt>
                <c:pt idx="9">
                  <c:v>0.1028193811870014</c:v>
                </c:pt>
                <c:pt idx="10">
                  <c:v>0.08482160227351104</c:v>
                </c:pt>
                <c:pt idx="11">
                  <c:v>0.000634863793375847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10546476866744295</c:v>
                </c:pt>
                <c:pt idx="7">
                  <c:v>0.009299097978199142</c:v>
                </c:pt>
                <c:pt idx="8">
                  <c:v>0.018530708758939425</c:v>
                </c:pt>
                <c:pt idx="10">
                  <c:v>0.00190595388070935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3498427346959585</c:v>
                </c:pt>
                <c:pt idx="4">
                  <c:v>0.007596884427017033</c:v>
                </c:pt>
                <c:pt idx="5">
                  <c:v>0.015698186857076857</c:v>
                </c:pt>
                <c:pt idx="6">
                  <c:v>0.01251329679149295</c:v>
                </c:pt>
                <c:pt idx="7">
                  <c:v>0.034229674846467474</c:v>
                </c:pt>
                <c:pt idx="8">
                  <c:v>0.05613274007224902</c:v>
                </c:pt>
                <c:pt idx="9">
                  <c:v>0.013659850636984161</c:v>
                </c:pt>
                <c:pt idx="10">
                  <c:v>0.010633097476208742</c:v>
                </c:pt>
                <c:pt idx="12">
                  <c:v>0.00058421688793604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3498427346959585</c:v>
                </c:pt>
                <c:pt idx="4">
                  <c:v>0.007596884427017033</c:v>
                </c:pt>
                <c:pt idx="5">
                  <c:v>0.015698186857076857</c:v>
                </c:pt>
                <c:pt idx="6">
                  <c:v>0.01251329679149295</c:v>
                </c:pt>
                <c:pt idx="7">
                  <c:v>0.034229674846467474</c:v>
                </c:pt>
                <c:pt idx="8">
                  <c:v>0.05613274007224902</c:v>
                </c:pt>
                <c:pt idx="9">
                  <c:v>0.013659850636984161</c:v>
                </c:pt>
                <c:pt idx="10">
                  <c:v>0.010633097476208742</c:v>
                </c:pt>
                <c:pt idx="12">
                  <c:v>0.00058421688793604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3498427346959585</c:v>
                </c:pt>
                <c:pt idx="4">
                  <c:v>0.007596884427017033</c:v>
                </c:pt>
                <c:pt idx="5">
                  <c:v>0.015698186857076857</c:v>
                </c:pt>
                <c:pt idx="6">
                  <c:v>0.01251329679149295</c:v>
                </c:pt>
                <c:pt idx="7">
                  <c:v>0.034229674846467474</c:v>
                </c:pt>
                <c:pt idx="8">
                  <c:v>0.05613274007224902</c:v>
                </c:pt>
                <c:pt idx="9">
                  <c:v>0.013659850636984161</c:v>
                </c:pt>
                <c:pt idx="10">
                  <c:v>0.010633097476208742</c:v>
                </c:pt>
                <c:pt idx="12">
                  <c:v>0.00058421688793604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3498427346959585</c:v>
                </c:pt>
                <c:pt idx="4">
                  <c:v>0.007596884427017033</c:v>
                </c:pt>
                <c:pt idx="5">
                  <c:v>0.015698186857076857</c:v>
                </c:pt>
                <c:pt idx="6">
                  <c:v>0.01251329679149295</c:v>
                </c:pt>
                <c:pt idx="7">
                  <c:v>0.034229674846467474</c:v>
                </c:pt>
                <c:pt idx="8">
                  <c:v>0.05613274007224902</c:v>
                </c:pt>
                <c:pt idx="9">
                  <c:v>0.013659850636984161</c:v>
                </c:pt>
                <c:pt idx="10">
                  <c:v>0.010633097476208742</c:v>
                </c:pt>
                <c:pt idx="12">
                  <c:v>0.00058421688793604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403361837539186</c:v>
                </c:pt>
                <c:pt idx="1">
                  <c:v>0.04915668720181369</c:v>
                </c:pt>
                <c:pt idx="3">
                  <c:v>0.015322460926377875</c:v>
                </c:pt>
                <c:pt idx="4">
                  <c:v>0.0036291236589418288</c:v>
                </c:pt>
                <c:pt idx="5">
                  <c:v>0.43551058204344495</c:v>
                </c:pt>
                <c:pt idx="7">
                  <c:v>0.4794515493481242</c:v>
                </c:pt>
                <c:pt idx="10">
                  <c:v>0.0151892606375435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403361837539186</c:v>
                </c:pt>
                <c:pt idx="1">
                  <c:v>0.04915668720181369</c:v>
                </c:pt>
                <c:pt idx="3">
                  <c:v>0.015322460926377875</c:v>
                </c:pt>
                <c:pt idx="4">
                  <c:v>0.0036291236589418288</c:v>
                </c:pt>
                <c:pt idx="5">
                  <c:v>0.43551058204344495</c:v>
                </c:pt>
                <c:pt idx="7">
                  <c:v>0.4794515493481242</c:v>
                </c:pt>
                <c:pt idx="10">
                  <c:v>0.0151892606375435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3498427346959585</c:v>
                </c:pt>
                <c:pt idx="4">
                  <c:v>0.007596884427017033</c:v>
                </c:pt>
                <c:pt idx="5">
                  <c:v>0.015698186857076857</c:v>
                </c:pt>
                <c:pt idx="6">
                  <c:v>0.01251329679149295</c:v>
                </c:pt>
                <c:pt idx="7">
                  <c:v>0.034229674846467474</c:v>
                </c:pt>
                <c:pt idx="8">
                  <c:v>0.05613274007224902</c:v>
                </c:pt>
                <c:pt idx="9">
                  <c:v>0.013659850636984161</c:v>
                </c:pt>
                <c:pt idx="10">
                  <c:v>0.010633097476208742</c:v>
                </c:pt>
                <c:pt idx="12">
                  <c:v>0.00058421688793604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6734849459052232</c:v>
                </c:pt>
                <c:pt idx="6">
                  <c:v>0.4128333822640951</c:v>
                </c:pt>
                <c:pt idx="7">
                  <c:v>0.016386580516175055</c:v>
                </c:pt>
                <c:pt idx="9">
                  <c:v>0.05412728953504454</c:v>
                </c:pt>
                <c:pt idx="10">
                  <c:v>0.43748439270454476</c:v>
                </c:pt>
                <c:pt idx="11">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3498427346959585</c:v>
                </c:pt>
                <c:pt idx="4">
                  <c:v>0.007596884427017033</c:v>
                </c:pt>
                <c:pt idx="5">
                  <c:v>0.015698186857076857</c:v>
                </c:pt>
                <c:pt idx="6">
                  <c:v>0.01251329679149295</c:v>
                </c:pt>
                <c:pt idx="7">
                  <c:v>0.034229674846467474</c:v>
                </c:pt>
                <c:pt idx="8">
                  <c:v>0.05613274007224902</c:v>
                </c:pt>
                <c:pt idx="9">
                  <c:v>0.013659850636984161</c:v>
                </c:pt>
                <c:pt idx="10">
                  <c:v>0.010633097476208742</c:v>
                </c:pt>
                <c:pt idx="12">
                  <c:v>0.00058421688793604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6734849459052232</c:v>
                </c:pt>
                <c:pt idx="6">
                  <c:v>0.4128333822640951</c:v>
                </c:pt>
                <c:pt idx="7">
                  <c:v>0.016386580516175055</c:v>
                </c:pt>
                <c:pt idx="9">
                  <c:v>0.05412728953504454</c:v>
                </c:pt>
                <c:pt idx="10">
                  <c:v>0.43748439270454476</c:v>
                </c:pt>
                <c:pt idx="11">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287810242930141</c:v>
                </c:pt>
                <c:pt idx="1">
                  <c:v>0.020023523609660875</c:v>
                </c:pt>
                <c:pt idx="2">
                  <c:v>0.013723429107454667</c:v>
                </c:pt>
                <c:pt idx="3">
                  <c:v>0.07129344466409372</c:v>
                </c:pt>
                <c:pt idx="4">
                  <c:v>0.04793878273161689</c:v>
                </c:pt>
                <c:pt idx="5">
                  <c:v>0.16568816572178582</c:v>
                </c:pt>
                <c:pt idx="6">
                  <c:v>0.059864438195894244</c:v>
                </c:pt>
                <c:pt idx="7">
                  <c:v>0.16391615246101154</c:v>
                </c:pt>
                <c:pt idx="8">
                  <c:v>0.2609160386574467</c:v>
                </c:pt>
                <c:pt idx="9">
                  <c:v>0.10528163732341587</c:v>
                </c:pt>
                <c:pt idx="10">
                  <c:v>0.086862495206883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5904404933453938</c:v>
                </c:pt>
                <c:pt idx="2">
                  <c:v>0.010098768442806877</c:v>
                </c:pt>
                <c:pt idx="3">
                  <c:v>0.017960493740542545</c:v>
                </c:pt>
                <c:pt idx="4">
                  <c:v>0.00769389523463391</c:v>
                </c:pt>
                <c:pt idx="5">
                  <c:v>0.0009782410576546021</c:v>
                </c:pt>
                <c:pt idx="6">
                  <c:v>0.011803433356024942</c:v>
                </c:pt>
                <c:pt idx="7">
                  <c:v>0.02469713118212448</c:v>
                </c:pt>
                <c:pt idx="8">
                  <c:v>0.004647653401319591</c:v>
                </c:pt>
                <c:pt idx="9">
                  <c:v>0.022333927059972964</c:v>
                </c:pt>
                <c:pt idx="10">
                  <c:v>0.00277325659130940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309779432539336</c:v>
                </c:pt>
                <c:pt idx="4">
                  <c:v>0.006490863744179826</c:v>
                </c:pt>
                <c:pt idx="5">
                  <c:v>0.025547295908863697</c:v>
                </c:pt>
                <c:pt idx="6">
                  <c:v>0.007360366784580957</c:v>
                </c:pt>
                <c:pt idx="7">
                  <c:v>0.0700881508027568</c:v>
                </c:pt>
                <c:pt idx="8">
                  <c:v>0.01026784235922271</c:v>
                </c:pt>
                <c:pt idx="10">
                  <c:v>0.00760059271593370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476399280447082</c:v>
                </c:pt>
                <c:pt idx="7">
                  <c:v>0.009166887961390938</c:v>
                </c:pt>
                <c:pt idx="10">
                  <c:v>0.00203864854147653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8989003417333752</c:v>
                </c:pt>
                <c:pt idx="2">
                  <c:v>0.0005895053500023858</c:v>
                </c:pt>
                <c:pt idx="3">
                  <c:v>0.01977252662968264</c:v>
                </c:pt>
                <c:pt idx="4">
                  <c:v>0.011363943025100654</c:v>
                </c:pt>
                <c:pt idx="5">
                  <c:v>0.012170874835746016</c:v>
                </c:pt>
                <c:pt idx="6">
                  <c:v>0.034525181260524195</c:v>
                </c:pt>
                <c:pt idx="7">
                  <c:v>0.05952409559290332</c:v>
                </c:pt>
                <c:pt idx="8">
                  <c:v>0.09585706892384101</c:v>
                </c:pt>
                <c:pt idx="9">
                  <c:v>0.06779450331846544</c:v>
                </c:pt>
                <c:pt idx="10">
                  <c:v>0.0570503913279700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533776665488491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3305344230185403</c:v>
                </c:pt>
                <c:pt idx="1">
                  <c:v>0.007229392635980974</c:v>
                </c:pt>
                <c:pt idx="2">
                  <c:v>0.002870624166854882</c:v>
                </c:pt>
                <c:pt idx="3">
                  <c:v>0.028013649721785164</c:v>
                </c:pt>
                <c:pt idx="4">
                  <c:v>0.014082028412530045</c:v>
                </c:pt>
                <c:pt idx="5">
                  <c:v>0.0310530638820168</c:v>
                </c:pt>
                <c:pt idx="6">
                  <c:v>0.0797606065490247</c:v>
                </c:pt>
                <c:pt idx="7">
                  <c:v>0.03539029025389191</c:v>
                </c:pt>
                <c:pt idx="8">
                  <c:v>0.015801750260249266</c:v>
                </c:pt>
                <c:pt idx="10">
                  <c:v>0.00258036919332993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305844547647415</c:v>
                </c:pt>
                <c:pt idx="4">
                  <c:v>0.006390332454770294</c:v>
                </c:pt>
                <c:pt idx="5">
                  <c:v>0.013130733003298789</c:v>
                </c:pt>
                <c:pt idx="6">
                  <c:v>0.00830189163589587</c:v>
                </c:pt>
                <c:pt idx="7">
                  <c:v>0.030519919508629628</c:v>
                </c:pt>
                <c:pt idx="8">
                  <c:v>0.05370866222512487</c:v>
                </c:pt>
                <c:pt idx="9">
                  <c:v>0.01299211095950322</c:v>
                </c:pt>
                <c:pt idx="10">
                  <c:v>0.01579210138363538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287810242930141</c:v>
                </c:pt>
                <c:pt idx="1">
                  <c:v>0.020023523609660875</c:v>
                </c:pt>
                <c:pt idx="2">
                  <c:v>0.013723429107454667</c:v>
                </c:pt>
                <c:pt idx="3">
                  <c:v>0.07129344466409372</c:v>
                </c:pt>
                <c:pt idx="4">
                  <c:v>0.04793878273161689</c:v>
                </c:pt>
                <c:pt idx="5">
                  <c:v>0.16568816572178582</c:v>
                </c:pt>
                <c:pt idx="6">
                  <c:v>0.059864438195894244</c:v>
                </c:pt>
                <c:pt idx="7">
                  <c:v>0.16391615246101154</c:v>
                </c:pt>
                <c:pt idx="8">
                  <c:v>0.2609160386574467</c:v>
                </c:pt>
                <c:pt idx="9">
                  <c:v>0.10528163732341587</c:v>
                </c:pt>
                <c:pt idx="10">
                  <c:v>0.086862495206883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09209156440494895</c:v>
                </c:pt>
                <c:pt idx="7">
                  <c:v>0.00682191800774935</c:v>
                </c:pt>
                <c:pt idx="8">
                  <c:v>0.017507708600645374</c:v>
                </c:pt>
                <c:pt idx="9">
                  <c:v>0.00272424606670597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305844547647415</c:v>
                </c:pt>
                <c:pt idx="4">
                  <c:v>0.006390332454770294</c:v>
                </c:pt>
                <c:pt idx="5">
                  <c:v>0.013130733003298789</c:v>
                </c:pt>
                <c:pt idx="6">
                  <c:v>0.00830189163589587</c:v>
                </c:pt>
                <c:pt idx="7">
                  <c:v>0.030519919508629628</c:v>
                </c:pt>
                <c:pt idx="8">
                  <c:v>0.05370866222512487</c:v>
                </c:pt>
                <c:pt idx="9">
                  <c:v>0.01299211095950322</c:v>
                </c:pt>
                <c:pt idx="10">
                  <c:v>0.01579210138363538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403361837539186</c:v>
                </c:pt>
                <c:pt idx="1">
                  <c:v>0.04915668720181369</c:v>
                </c:pt>
                <c:pt idx="3">
                  <c:v>0.015322460926377875</c:v>
                </c:pt>
                <c:pt idx="4">
                  <c:v>0.0036291236589418288</c:v>
                </c:pt>
                <c:pt idx="5">
                  <c:v>0.43551058204344495</c:v>
                </c:pt>
                <c:pt idx="7">
                  <c:v>0.4794515493481242</c:v>
                </c:pt>
                <c:pt idx="10">
                  <c:v>0.0151892606375435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305844547647415</c:v>
                </c:pt>
                <c:pt idx="4">
                  <c:v>0.006390332454770294</c:v>
                </c:pt>
                <c:pt idx="5">
                  <c:v>0.013130733003298789</c:v>
                </c:pt>
                <c:pt idx="6">
                  <c:v>0.00830189163589587</c:v>
                </c:pt>
                <c:pt idx="7">
                  <c:v>0.030519919508629628</c:v>
                </c:pt>
                <c:pt idx="8">
                  <c:v>0.05370866222512487</c:v>
                </c:pt>
                <c:pt idx="9">
                  <c:v>0.01299211095950322</c:v>
                </c:pt>
                <c:pt idx="10">
                  <c:v>0.0157921013836353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305844547647415</c:v>
                </c:pt>
                <c:pt idx="4">
                  <c:v>0.006390332454770294</c:v>
                </c:pt>
                <c:pt idx="5">
                  <c:v>0.013130733003298789</c:v>
                </c:pt>
                <c:pt idx="6">
                  <c:v>0.00830189163589587</c:v>
                </c:pt>
                <c:pt idx="7">
                  <c:v>0.030519919508629628</c:v>
                </c:pt>
                <c:pt idx="8">
                  <c:v>0.05370866222512487</c:v>
                </c:pt>
                <c:pt idx="9">
                  <c:v>0.01299211095950322</c:v>
                </c:pt>
                <c:pt idx="10">
                  <c:v>0.01579210138363538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346241200463286</c:v>
                </c:pt>
                <c:pt idx="6">
                  <c:v>0.06130635469218953</c:v>
                </c:pt>
                <c:pt idx="7">
                  <c:v>0.025558696901447086</c:v>
                </c:pt>
                <c:pt idx="9">
                  <c:v>0.004820224078680782</c:v>
                </c:pt>
                <c:pt idx="10">
                  <c:v>0.47369060428135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346241200463286</c:v>
                </c:pt>
                <c:pt idx="6">
                  <c:v>0.06130635469218953</c:v>
                </c:pt>
                <c:pt idx="7">
                  <c:v>0.025558696901447086</c:v>
                </c:pt>
                <c:pt idx="9">
                  <c:v>0.004820224078680782</c:v>
                </c:pt>
                <c:pt idx="10">
                  <c:v>0.47369060428135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143644917460734</c:v>
                </c:pt>
                <c:pt idx="1">
                  <c:v>0.029401906875188205</c:v>
                </c:pt>
                <c:pt idx="4">
                  <c:v>0.12607359527604595</c:v>
                </c:pt>
                <c:pt idx="5">
                  <c:v>0.002457809121343675</c:v>
                </c:pt>
                <c:pt idx="6">
                  <c:v>0.25213010765919697</c:v>
                </c:pt>
                <c:pt idx="7">
                  <c:v>0.008552129724142214</c:v>
                </c:pt>
                <c:pt idx="8">
                  <c:v>0.39132364067278447</c:v>
                </c:pt>
                <c:pt idx="9">
                  <c:v>0.1757517287919234</c:v>
                </c:pt>
                <c:pt idx="10">
                  <c:v>0.002583863736266491</c:v>
                </c:pt>
                <c:pt idx="11">
                  <c:v>0.0042531055920174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9601321791568938</c:v>
                </c:pt>
                <c:pt idx="3">
                  <c:v>0.019999599923363302</c:v>
                </c:pt>
                <c:pt idx="5">
                  <c:v>0.02407417749737505</c:v>
                </c:pt>
                <c:pt idx="7">
                  <c:v>0.0012922107373036947</c:v>
                </c:pt>
                <c:pt idx="8">
                  <c:v>0.036258471793841</c:v>
                </c:pt>
                <c:pt idx="10">
                  <c:v>0.0205296698426491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3008003619940328</c:v>
                </c:pt>
                <c:pt idx="4">
                  <c:v>0.01074366191180548</c:v>
                </c:pt>
                <c:pt idx="6">
                  <c:v>0.043976334207715635</c:v>
                </c:pt>
                <c:pt idx="8">
                  <c:v>0.08262392705877278</c:v>
                </c:pt>
                <c:pt idx="10">
                  <c:v>0.00739712836857930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5043553068305772</c:v>
                </c:pt>
                <c:pt idx="7">
                  <c:v>0.011625394479847445</c:v>
                </c:pt>
                <c:pt idx="10">
                  <c:v>0.00327634476047004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2657044181484169</c:v>
                </c:pt>
                <c:pt idx="5">
                  <c:v>0.04200536740929833</c:v>
                </c:pt>
                <c:pt idx="7">
                  <c:v>0.004383507116071369</c:v>
                </c:pt>
                <c:pt idx="8">
                  <c:v>0.12039944138997732</c:v>
                </c:pt>
                <c:pt idx="9">
                  <c:v>0.002023169957149423</c:v>
                </c:pt>
                <c:pt idx="10">
                  <c:v>0.1266949215376864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417514872164733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6977237646079937</c:v>
                </c:pt>
                <c:pt idx="1">
                  <c:v>0.016101629907503006</c:v>
                </c:pt>
                <c:pt idx="4">
                  <c:v>0.0540167225709272</c:v>
                </c:pt>
                <c:pt idx="5">
                  <c:v>0.11074555419724867</c:v>
                </c:pt>
                <c:pt idx="6">
                  <c:v>0.00229974492555714</c:v>
                </c:pt>
                <c:pt idx="8">
                  <c:v>0.0449915617351456</c:v>
                </c:pt>
                <c:pt idx="10">
                  <c:v>0.00329884979001927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208356123221511</c:v>
                </c:pt>
                <c:pt idx="3">
                  <c:v>0.014731836042016418</c:v>
                </c:pt>
                <c:pt idx="5">
                  <c:v>0.0298699068419999</c:v>
                </c:pt>
                <c:pt idx="7">
                  <c:v>0.08028224825981181</c:v>
                </c:pt>
                <c:pt idx="8">
                  <c:v>0.0016705183290672196</c:v>
                </c:pt>
                <c:pt idx="10">
                  <c:v>0.015195282104024077</c:v>
                </c:pt>
                <c:pt idx="11">
                  <c:v>0.0042046801043159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143644917460734</c:v>
                </c:pt>
                <c:pt idx="1">
                  <c:v>0.029401906875188205</c:v>
                </c:pt>
                <c:pt idx="4">
                  <c:v>0.12607359527604595</c:v>
                </c:pt>
                <c:pt idx="5">
                  <c:v>0.002457809121343675</c:v>
                </c:pt>
                <c:pt idx="6">
                  <c:v>0.25213010765919697</c:v>
                </c:pt>
                <c:pt idx="7">
                  <c:v>0.008552129724142214</c:v>
                </c:pt>
                <c:pt idx="8">
                  <c:v>0.39132364067278447</c:v>
                </c:pt>
                <c:pt idx="9">
                  <c:v>0.1757517287919234</c:v>
                </c:pt>
                <c:pt idx="10">
                  <c:v>0.002583863736266491</c:v>
                </c:pt>
                <c:pt idx="11">
                  <c:v>0.0042531055920174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14587675055593718</c:v>
                </c:pt>
                <c:pt idx="8">
                  <c:v>0.026767990435235943</c:v>
                </c:pt>
                <c:pt idx="9">
                  <c:v>0.00263587714896510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208356123221511</c:v>
                </c:pt>
                <c:pt idx="3">
                  <c:v>0.014731836042016418</c:v>
                </c:pt>
                <c:pt idx="5">
                  <c:v>0.0298699068419999</c:v>
                </c:pt>
                <c:pt idx="7">
                  <c:v>0.08028224825981181</c:v>
                </c:pt>
                <c:pt idx="8">
                  <c:v>0.0016705183290672196</c:v>
                </c:pt>
                <c:pt idx="10">
                  <c:v>0.015195282104024077</c:v>
                </c:pt>
                <c:pt idx="11">
                  <c:v>0.0042046801043159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208356123221511</c:v>
                </c:pt>
                <c:pt idx="3">
                  <c:v>0.014731836042016418</c:v>
                </c:pt>
                <c:pt idx="5">
                  <c:v>0.0298699068419999</c:v>
                </c:pt>
                <c:pt idx="7">
                  <c:v>0.08028224825981181</c:v>
                </c:pt>
                <c:pt idx="8">
                  <c:v>0.0016705183290672196</c:v>
                </c:pt>
                <c:pt idx="10">
                  <c:v>0.015195282104024077</c:v>
                </c:pt>
                <c:pt idx="11">
                  <c:v>0.0042046801043159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5208356123221511</c:v>
                </c:pt>
                <c:pt idx="3">
                  <c:v>0.014731836042016418</c:v>
                </c:pt>
                <c:pt idx="5">
                  <c:v>0.0298699068419999</c:v>
                </c:pt>
                <c:pt idx="7">
                  <c:v>0.08028224825981181</c:v>
                </c:pt>
                <c:pt idx="8">
                  <c:v>0.0016705183290672196</c:v>
                </c:pt>
                <c:pt idx="10">
                  <c:v>0.015195282104024077</c:v>
                </c:pt>
                <c:pt idx="11">
                  <c:v>0.0042046801043159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317326504995634</c:v>
                </c:pt>
                <c:pt idx="1">
                  <c:v>0.0491721026051903</c:v>
                </c:pt>
                <c:pt idx="3">
                  <c:v>0.015327587220883452</c:v>
                </c:pt>
                <c:pt idx="4">
                  <c:v>0.0036267341626128333</c:v>
                </c:pt>
                <c:pt idx="5">
                  <c:v>0.4355865584572655</c:v>
                </c:pt>
                <c:pt idx="7">
                  <c:v>0.4793645137897594</c:v>
                </c:pt>
                <c:pt idx="10">
                  <c:v>0.0151907711137889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317326504995634</c:v>
                </c:pt>
                <c:pt idx="1">
                  <c:v>0.0491721026051903</c:v>
                </c:pt>
                <c:pt idx="3">
                  <c:v>0.015327587220883452</c:v>
                </c:pt>
                <c:pt idx="4">
                  <c:v>0.0036267341626128333</c:v>
                </c:pt>
                <c:pt idx="5">
                  <c:v>0.4355865584572655</c:v>
                </c:pt>
                <c:pt idx="7">
                  <c:v>0.4793645137897594</c:v>
                </c:pt>
                <c:pt idx="10">
                  <c:v>0.0151907711137889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403361837539186</c:v>
                </c:pt>
                <c:pt idx="1">
                  <c:v>0.04915668720181369</c:v>
                </c:pt>
                <c:pt idx="3">
                  <c:v>0.015322460926377875</c:v>
                </c:pt>
                <c:pt idx="4">
                  <c:v>0.0036291236589418288</c:v>
                </c:pt>
                <c:pt idx="5">
                  <c:v>0.43551058204344495</c:v>
                </c:pt>
                <c:pt idx="7">
                  <c:v>0.4794515493481242</c:v>
                </c:pt>
                <c:pt idx="10">
                  <c:v>0.0151892606375435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6734849459052232</c:v>
                </c:pt>
                <c:pt idx="6">
                  <c:v>0.4128333822640951</c:v>
                </c:pt>
                <c:pt idx="7">
                  <c:v>0.016386580516175055</c:v>
                </c:pt>
                <c:pt idx="9">
                  <c:v>0.05412728953504454</c:v>
                </c:pt>
                <c:pt idx="10">
                  <c:v>0.43748439270454476</c:v>
                </c:pt>
                <c:pt idx="11">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6734849459052232</c:v>
                </c:pt>
                <c:pt idx="6">
                  <c:v>0.4128333822640951</c:v>
                </c:pt>
                <c:pt idx="7">
                  <c:v>0.016386580516175055</c:v>
                </c:pt>
                <c:pt idx="9">
                  <c:v>0.05412728953504454</c:v>
                </c:pt>
                <c:pt idx="10">
                  <c:v>0.43748439270454476</c:v>
                </c:pt>
                <c:pt idx="11">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287810242930141</c:v>
                </c:pt>
                <c:pt idx="1">
                  <c:v>0.020023523609660875</c:v>
                </c:pt>
                <c:pt idx="2">
                  <c:v>0.013723429107454667</c:v>
                </c:pt>
                <c:pt idx="3">
                  <c:v>0.07129344466409372</c:v>
                </c:pt>
                <c:pt idx="4">
                  <c:v>0.04793878273161689</c:v>
                </c:pt>
                <c:pt idx="5">
                  <c:v>0.16568816572178582</c:v>
                </c:pt>
                <c:pt idx="6">
                  <c:v>0.059864438195894244</c:v>
                </c:pt>
                <c:pt idx="7">
                  <c:v>0.16391615246101154</c:v>
                </c:pt>
                <c:pt idx="8">
                  <c:v>0.2609160386574467</c:v>
                </c:pt>
                <c:pt idx="9">
                  <c:v>0.10528163732341587</c:v>
                </c:pt>
                <c:pt idx="10">
                  <c:v>0.0868624952068833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5904404933453938</c:v>
                </c:pt>
                <c:pt idx="2">
                  <c:v>0.010098768442806877</c:v>
                </c:pt>
                <c:pt idx="3">
                  <c:v>0.017960493740542545</c:v>
                </c:pt>
                <c:pt idx="4">
                  <c:v>0.00769389523463391</c:v>
                </c:pt>
                <c:pt idx="5">
                  <c:v>0.0009782410576546021</c:v>
                </c:pt>
                <c:pt idx="6">
                  <c:v>0.011803433356024942</c:v>
                </c:pt>
                <c:pt idx="7">
                  <c:v>0.02469713118212448</c:v>
                </c:pt>
                <c:pt idx="8">
                  <c:v>0.004647653401319591</c:v>
                </c:pt>
                <c:pt idx="9">
                  <c:v>0.022333927059972964</c:v>
                </c:pt>
                <c:pt idx="10">
                  <c:v>0.00277325659130940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703691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08128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27904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102873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643847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135855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32722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2475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04290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177004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435325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13351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44747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665769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536056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201952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439200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737013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811008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2598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999071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42735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093194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208578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580846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680410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672143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293403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450502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134157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282413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646610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99038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53479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865377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64518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601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392195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044364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615689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172306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838676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32112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261339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555118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643580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652166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0"/>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0561">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30561">
                <a:tc>
                  <a:txBody>
                    <a:bodyPr/>
                    <a:lstStyle/>
                    <a:p>
                      <a:pPr algn="ctr">
                        <a:defRPr sz="6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30561">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30561">
                <a:tc>
                  <a:txBody>
                    <a:bodyPr/>
                    <a:lstStyle/>
                    <a:p>
                      <a:pPr algn="ctr">
                        <a:defRPr sz="6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30561">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30561">
                <a:tc>
                  <a:txBody>
                    <a:bodyPr/>
                    <a:lstStyle/>
                    <a:p>
                      <a:pPr algn="ctr">
                        <a:defRPr sz="6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0561">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30561">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30561">
                <a:tc>
                  <a:txBody>
                    <a:bodyPr/>
                    <a:lstStyle/>
                    <a:p>
                      <a:pPr algn="ctr">
                        <a:defRPr sz="6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30561">
                <a:tc>
                  <a:txBody>
                    <a:bodyPr/>
                    <a:lstStyle/>
                    <a:p>
                      <a:pPr algn="ctr">
                        <a:defRPr sz="6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30561">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30561">
                <a:tc>
                  <a:txBody>
                    <a:bodyPr/>
                    <a:lstStyle/>
                    <a:p>
                      <a:pPr algn="ctr">
                        <a:defRPr sz="6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30561">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291578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6672</Words>
  <Application>Microsoft Office PowerPoint</Application>
  <PresentationFormat>On-screen Show (16:9)</PresentationFormat>
  <Paragraphs>2016</Paragraphs>
  <Slides>48</Slides>
  <Notes>4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9"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